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5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96"/>
  </p:notesMasterIdLst>
  <p:handoutMasterIdLst>
    <p:handoutMasterId r:id="rId97"/>
  </p:handoutMasterIdLst>
  <p:sldIdLst>
    <p:sldId id="256" r:id="rId7"/>
    <p:sldId id="371" r:id="rId8"/>
    <p:sldId id="383" r:id="rId9"/>
    <p:sldId id="373" r:id="rId10"/>
    <p:sldId id="416" r:id="rId11"/>
    <p:sldId id="417" r:id="rId12"/>
    <p:sldId id="418" r:id="rId13"/>
    <p:sldId id="370" r:id="rId14"/>
    <p:sldId id="369" r:id="rId15"/>
    <p:sldId id="385" r:id="rId16"/>
    <p:sldId id="378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99" r:id="rId34"/>
    <p:sldId id="400" r:id="rId35"/>
    <p:sldId id="401" r:id="rId36"/>
    <p:sldId id="402" r:id="rId37"/>
    <p:sldId id="403" r:id="rId38"/>
    <p:sldId id="404" r:id="rId39"/>
    <p:sldId id="405" r:id="rId40"/>
    <p:sldId id="386" r:id="rId41"/>
    <p:sldId id="387" r:id="rId42"/>
    <p:sldId id="388" r:id="rId43"/>
    <p:sldId id="389" r:id="rId44"/>
    <p:sldId id="390" r:id="rId45"/>
    <p:sldId id="374" r:id="rId46"/>
    <p:sldId id="382" r:id="rId47"/>
    <p:sldId id="318" r:id="rId48"/>
    <p:sldId id="320" r:id="rId49"/>
    <p:sldId id="323" r:id="rId50"/>
    <p:sldId id="324" r:id="rId51"/>
    <p:sldId id="325" r:id="rId52"/>
    <p:sldId id="327" r:id="rId53"/>
    <p:sldId id="328" r:id="rId54"/>
    <p:sldId id="394" r:id="rId55"/>
    <p:sldId id="329" r:id="rId56"/>
    <p:sldId id="368" r:id="rId57"/>
    <p:sldId id="408" r:id="rId58"/>
    <p:sldId id="409" r:id="rId59"/>
    <p:sldId id="410" r:id="rId60"/>
    <p:sldId id="411" r:id="rId61"/>
    <p:sldId id="412" r:id="rId62"/>
    <p:sldId id="413" r:id="rId63"/>
    <p:sldId id="414" r:id="rId64"/>
    <p:sldId id="395" r:id="rId65"/>
    <p:sldId id="396" r:id="rId66"/>
    <p:sldId id="375" r:id="rId67"/>
    <p:sldId id="398" r:id="rId68"/>
    <p:sldId id="397" r:id="rId69"/>
    <p:sldId id="359" r:id="rId70"/>
    <p:sldId id="360" r:id="rId71"/>
    <p:sldId id="376" r:id="rId72"/>
    <p:sldId id="343" r:id="rId73"/>
    <p:sldId id="344" r:id="rId74"/>
    <p:sldId id="345" r:id="rId75"/>
    <p:sldId id="361" r:id="rId76"/>
    <p:sldId id="347" r:id="rId77"/>
    <p:sldId id="348" r:id="rId78"/>
    <p:sldId id="362" r:id="rId79"/>
    <p:sldId id="352" r:id="rId80"/>
    <p:sldId id="353" r:id="rId81"/>
    <p:sldId id="354" r:id="rId82"/>
    <p:sldId id="363" r:id="rId83"/>
    <p:sldId id="364" r:id="rId84"/>
    <p:sldId id="377" r:id="rId85"/>
    <p:sldId id="350" r:id="rId86"/>
    <p:sldId id="355" r:id="rId87"/>
    <p:sldId id="349" r:id="rId88"/>
    <p:sldId id="357" r:id="rId89"/>
    <p:sldId id="358" r:id="rId90"/>
    <p:sldId id="406" r:id="rId91"/>
    <p:sldId id="407" r:id="rId92"/>
    <p:sldId id="380" r:id="rId93"/>
    <p:sldId id="392" r:id="rId94"/>
    <p:sldId id="299" r:id="rId95"/>
  </p:sldIdLst>
  <p:sldSz cx="9144000" cy="6858000" type="screen4x3"/>
  <p:notesSz cx="7023100" cy="9309100"/>
  <p:custDataLst>
    <p:tags r:id="rId9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000000"/>
    <a:srgbClr val="EE3124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822" y="9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tableStyles" Target="tableStyle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commentAuthors" Target="commentAuthors.xml"/><Relationship Id="rId10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handoutMaster" Target="handoutMasters/handout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2-0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716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svg"/><Relationship Id="rId5" Type="http://schemas.openxmlformats.org/officeDocument/2006/relationships/image" Target="../media/image56.png"/><Relationship Id="rId4" Type="http://schemas.openxmlformats.org/officeDocument/2006/relationships/image" Target="../media/image55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81.png"/><Relationship Id="rId4" Type="http://schemas.openxmlformats.org/officeDocument/2006/relationships/notesSlide" Target="../notesSlides/notesSlide40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82.png"/><Relationship Id="rId4" Type="http://schemas.openxmlformats.org/officeDocument/2006/relationships/notesSlide" Target="../notesSlides/notesSlide41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84.png"/><Relationship Id="rId4" Type="http://schemas.openxmlformats.org/officeDocument/2006/relationships/notesSlide" Target="../notesSlides/notesSlide46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85.png"/><Relationship Id="rId4" Type="http://schemas.openxmlformats.org/officeDocument/2006/relationships/notesSlide" Target="../notesSlides/notesSlide49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86.png"/><Relationship Id="rId4" Type="http://schemas.openxmlformats.org/officeDocument/2006/relationships/notesSlide" Target="../notesSlides/notesSlide5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88.png"/><Relationship Id="rId4" Type="http://schemas.openxmlformats.org/officeDocument/2006/relationships/notesSlide" Target="../notesSlides/notesSlide56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89.png"/><Relationship Id="rId4" Type="http://schemas.openxmlformats.org/officeDocument/2006/relationships/notesSlide" Target="../notesSlides/notesSlide58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5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6.jpeg"/><Relationship Id="rId4" Type="http://schemas.openxmlformats.org/officeDocument/2006/relationships/image" Target="../media/image9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0CFD4-5EF9-4FB8-9A07-176D42608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IT WOULD BE GREAT IF YOU COULD PUT LABELS IN THE FOLLOWING SLIDES REFERRING TO THE PROBLEMS YOU DEFINE IN THE THES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0552B1-0044-460D-AF29-476D9676AF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80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1] Basic Avo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8708"/>
          <a:stretch/>
        </p:blipFill>
        <p:spPr>
          <a:xfrm>
            <a:off x="532340" y="1327707"/>
            <a:ext cx="8046720" cy="388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2] Intruder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4191"/>
          <a:stretch/>
        </p:blipFill>
        <p:spPr>
          <a:xfrm>
            <a:off x="532340" y="1327707"/>
            <a:ext cx="8048708" cy="426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3] Stat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4810"/>
          <a:stretch/>
        </p:blipFill>
        <p:spPr>
          <a:xfrm>
            <a:off x="1309602" y="1193483"/>
            <a:ext cx="6122460" cy="565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4] Dynamic restri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20000"/>
          <a:stretch/>
        </p:blipFill>
        <p:spPr>
          <a:xfrm>
            <a:off x="800608" y="1193483"/>
            <a:ext cx="7140448" cy="56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[P5] Rules of the ai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6847"/>
          <a:stretch/>
        </p:blipFill>
        <p:spPr>
          <a:xfrm>
            <a:off x="530352" y="1193483"/>
            <a:ext cx="8046720" cy="564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Related work</a:t>
            </a:r>
            <a:br>
              <a:rPr lang="en-US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09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ne page with a description of related work with reference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6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Movement automat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59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5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6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</a:t>
            </a:r>
            <a:r>
              <a:rPr lang="en-US" dirty="0"/>
              <a:t> run (6.5.1)</a:t>
            </a:r>
            <a:br>
              <a:rPr lang="en-US" dirty="0"/>
            </a:br>
            <a:r>
              <a:rPr lang="en-US" dirty="0"/>
              <a:t>	Step 7/7 Trajectory sel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513</TotalTime>
  <Words>3470</Words>
  <Application>Microsoft Office PowerPoint</Application>
  <PresentationFormat>On-screen Show (4:3)</PresentationFormat>
  <Paragraphs>1101</Paragraphs>
  <Slides>89</Slides>
  <Notes>60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9</vt:i4>
      </vt:variant>
    </vt:vector>
  </HeadingPairs>
  <TitlesOfParts>
    <vt:vector size="104" baseType="lpstr"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Actors introduction</vt:lpstr>
      <vt:lpstr>Context of  SAA:  Reactive Sense &amp; Avoid</vt:lpstr>
      <vt:lpstr>IT WOULD BE GREAT IF YOU COULD PUT LABELS IN THE FOLLOWING SLIDES REFERRING TO THE PROBLEMS YOU DEFINE IN THE THESE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[P1] Basic Avoidance</vt:lpstr>
      <vt:lpstr>Incremental problem definition: [P2] Intruders Introduction</vt:lpstr>
      <vt:lpstr>Incremental problem definition: [P3] Static restrictions</vt:lpstr>
      <vt:lpstr>Incremental problem definition: [P4] Dynamic restrictions</vt:lpstr>
      <vt:lpstr>Incremental problem definition: [P5] Rules of the air</vt:lpstr>
      <vt:lpstr>Related work </vt:lpstr>
      <vt:lpstr>One page with a description of related work with references</vt:lpstr>
      <vt:lpstr>Background material</vt:lpstr>
      <vt:lpstr>Definitions and pictures</vt:lpstr>
      <vt:lpstr>Movement automaton</vt:lpstr>
      <vt:lpstr>Proposed Framework:  Overview  Avoidance Run  UTM Implementation  Rule Engine</vt:lpstr>
      <vt:lpstr>Proposed framework Overview</vt:lpstr>
      <vt:lpstr>Vehicle control</vt:lpstr>
      <vt:lpstr>Movement Automaton </vt:lpstr>
      <vt:lpstr>Reach set approximation</vt:lpstr>
      <vt:lpstr>Reach set -Trajectory set &amp; Graph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65</cp:revision>
  <cp:lastPrinted>2015-07-29T21:30:37Z</cp:lastPrinted>
  <dcterms:created xsi:type="dcterms:W3CDTF">2017-09-21T08:49:16Z</dcterms:created>
  <dcterms:modified xsi:type="dcterms:W3CDTF">2019-02-07T09:01:59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